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76" d="100"/>
          <a:sy n="76" d="100"/>
        </p:scale>
        <p:origin x="163" y="10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1-16T16:48:44.092" v="491" actId="478"/>
      <pc:docMkLst>
        <pc:docMk/>
      </pc:docMkLst>
      <pc:sldChg chg="addSp delSp modSp modAnim">
        <pc:chgData name="David Stevens" userId="73fe415a-d21a-4898-bfab-0e75d37181d7" providerId="ADAL" clId="{A55558DF-111D-4D77-9A1C-537E622CF8A6}" dt="2019-01-16T16:48:36.613" v="484" actId="478"/>
        <pc:sldMkLst>
          <pc:docMk/>
          <pc:sldMk cId="2041146489" sldId="353"/>
        </pc:sldMkLst>
        <pc:spChg chg="add del mod">
          <ac:chgData name="David Stevens" userId="73fe415a-d21a-4898-bfab-0e75d37181d7" providerId="ADAL" clId="{A55558DF-111D-4D77-9A1C-537E622CF8A6}" dt="2019-01-16T16:48:36.613" v="484" actId="478"/>
          <ac:spMkLst>
            <pc:docMk/>
            <pc:sldMk cId="2041146489" sldId="353"/>
            <ac:spMk id="3" creationId="{89C994A4-F881-4E3C-B2BD-6194A9FD11E0}"/>
          </ac:spMkLst>
        </pc:spChg>
        <pc:spChg chg="add del mod">
          <ac:chgData name="David Stevens" userId="73fe415a-d21a-4898-bfab-0e75d37181d7" providerId="ADAL" clId="{A55558DF-111D-4D77-9A1C-537E622CF8A6}" dt="2019-01-16T16:48:33.780" v="482" actId="478"/>
          <ac:spMkLst>
            <pc:docMk/>
            <pc:sldMk cId="2041146489" sldId="353"/>
            <ac:spMk id="4" creationId="{5FF6E611-7BF6-40F3-B125-1468314FB3EA}"/>
          </ac:spMkLst>
        </pc:spChg>
        <pc:spChg chg="add del mod">
          <ac:chgData name="David Stevens" userId="73fe415a-d21a-4898-bfab-0e75d37181d7" providerId="ADAL" clId="{A55558DF-111D-4D77-9A1C-537E622CF8A6}" dt="2019-01-16T16:48:35.931" v="483" actId="478"/>
          <ac:spMkLst>
            <pc:docMk/>
            <pc:sldMk cId="2041146489" sldId="353"/>
            <ac:spMk id="5" creationId="{4B6519BD-5A39-4F9A-8CF5-AC7118F95C03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3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4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6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6T16:31:43.424" v="337" actId="20577"/>
          <ac:spMkLst>
            <pc:docMk/>
            <pc:sldMk cId="2041146489" sldId="353"/>
            <ac:spMk id="4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06.767" v="319" actId="165"/>
          <ac:spMkLst>
            <pc:docMk/>
            <pc:sldMk cId="2041146489" sldId="353"/>
            <ac:spMk id="5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0.876" v="320" actId="165"/>
          <ac:spMkLst>
            <pc:docMk/>
            <pc:sldMk cId="2041146489" sldId="353"/>
            <ac:spMk id="54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5:58.895" v="317" actId="165"/>
          <ac:spMkLst>
            <pc:docMk/>
            <pc:sldMk cId="2041146489" sldId="353"/>
            <ac:spMk id="5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7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9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4" creationId="{00000000-0000-0000-0000-000000000000}"/>
          </ac:spMkLst>
        </pc:spChg>
        <pc:grpChg chg="add mod">
          <ac:chgData name="David Stevens" userId="73fe415a-d21a-4898-bfab-0e75d37181d7" providerId="ADAL" clId="{A55558DF-111D-4D77-9A1C-537E622CF8A6}" dt="2019-01-11T14:16:15.141" v="321" actId="164"/>
          <ac:grpSpMkLst>
            <pc:docMk/>
            <pc:sldMk cId="2041146489" sldId="353"/>
            <ac:grpSpMk id="2" creationId="{C130837F-3C51-473F-838D-F0E873A6A676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3" creationId="{3A1C4C40-E52F-477D-87FC-76CA621FA760}"/>
          </ac:grpSpMkLst>
        </pc:grpChg>
        <pc:grpChg chg="del mod topLvl">
          <ac:chgData name="David Stevens" userId="73fe415a-d21a-4898-bfab-0e75d37181d7" providerId="ADAL" clId="{A55558DF-111D-4D77-9A1C-537E622CF8A6}" dt="2019-01-11T14:16:06.767" v="319" actId="165"/>
          <ac:grpSpMkLst>
            <pc:docMk/>
            <pc:sldMk cId="2041146489" sldId="353"/>
            <ac:grpSpMk id="11" creationId="{C00D043C-33DC-4A3E-AB75-1177A2BB86DA}"/>
          </ac:grpSpMkLst>
        </pc:grpChg>
        <pc:grpChg chg="de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12" creationId="{552B7451-9EF0-41E8-A63A-DD75C5C7CE93}"/>
          </ac:grpSpMkLst>
        </pc:grpChg>
        <pc:grpChg chg="de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19" creationId="{4B4A7DAA-F4DD-4FE8-9A63-5952ACC54A0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2" creationId="{BE8EBD0B-5F5A-407E-BBBA-9B38D55E6A6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4" creationId="{C4C3E76E-BA13-4F4C-AF1B-53141CC966D4}"/>
          </ac:grpSpMkLst>
        </pc:grpChg>
        <pc:grpChg chg="del mod topLv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35" creationId="{00000000-0000-0000-0000-000000000000}"/>
          </ac:grpSpMkLst>
        </pc:grpChg>
        <pc:grpChg chg="del mod topLv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84" creationId="{00000000-0000-0000-0000-000000000000}"/>
          </ac:grpSpMkLst>
        </pc:grpChg>
        <pc:picChg chg="mod topLvl">
          <ac:chgData name="David Stevens" userId="73fe415a-d21a-4898-bfab-0e75d37181d7" providerId="ADAL" clId="{A55558DF-111D-4D77-9A1C-537E622CF8A6}" dt="2019-01-11T14:16:10.876" v="320" actId="165"/>
          <ac:picMkLst>
            <pc:docMk/>
            <pc:sldMk cId="2041146489" sldId="353"/>
            <ac:picMk id="45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6:06.767" v="319" actId="165"/>
          <ac:picMkLst>
            <pc:docMk/>
            <pc:sldMk cId="2041146489" sldId="353"/>
            <ac:picMk id="47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5:58.895" v="317" actId="165"/>
          <ac:picMkLst>
            <pc:docMk/>
            <pc:sldMk cId="2041146489" sldId="353"/>
            <ac:picMk id="81" creationId="{00000000-0000-0000-0000-000000000000}"/>
          </ac:picMkLst>
        </pc:pic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0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1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1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7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9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2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9" creationId="{8F3F1FF9-51BD-4687-948B-37A052488483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5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5" creationId="{7CD6BEFE-CF8E-4A20-A878-B450AB07E66F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7" creationId="{BC5ED887-0032-4C90-8916-09629436D325}"/>
          </ac:cxnSpMkLst>
        </pc:cxnChg>
      </pc:sldChg>
      <pc:sldChg chg="addSp delSp modSp">
        <pc:chgData name="David Stevens" userId="73fe415a-d21a-4898-bfab-0e75d37181d7" providerId="ADAL" clId="{A55558DF-111D-4D77-9A1C-537E622CF8A6}" dt="2019-01-16T16:48:44.092" v="491" actId="478"/>
        <pc:sldMkLst>
          <pc:docMk/>
          <pc:sldMk cId="3318126158" sldId="354"/>
        </pc:sldMkLst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4" creationId="{B7C54E24-9012-48C7-8DF5-1376F4BED66A}"/>
          </ac:spMkLst>
        </pc:spChg>
        <pc:spChg chg="mod">
          <ac:chgData name="David Stevens" userId="73fe415a-d21a-4898-bfab-0e75d37181d7" providerId="ADAL" clId="{A55558DF-111D-4D77-9A1C-537E622CF8A6}" dt="2019-01-16T16:48:40.836" v="490" actId="20577"/>
          <ac:spMkLst>
            <pc:docMk/>
            <pc:sldMk cId="3318126158" sldId="354"/>
            <ac:spMk id="40" creationId="{00000000-0000-0000-0000-000000000000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6" creationId="{B0007525-9ED6-494A-BB32-7D151D2951D6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9" creationId="{8B24DEA7-9DA3-44C0-A6E0-52498310164C}"/>
          </ac:spMkLst>
        </pc:sp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/29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January 2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9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anuary 29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anuary 29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anuary 29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9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January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4002571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600" b="1" dirty="0">
                    <a:solidFill>
                      <a:schemeClr val="tx2"/>
                    </a:solidFill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gital Roadmap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796328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Client CM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51" grpId="0"/>
      <p:bldP spid="5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17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Metric Bold</vt:lpstr>
      <vt:lpstr>Metric Regular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1-29T12:18:04Z</dcterms:modified>
  <cp:category/>
</cp:coreProperties>
</file>